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122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224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2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2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82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346823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0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jpeg"/><Relationship Id="rId3" Type="http://schemas.openxmlformats.org/officeDocument/2006/relationships/tags" Target="../tags/tag10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4.sv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z="4000" dirty="0"/>
              <a:t>Dr. Bastian Brand – Mission Lead</a:t>
            </a:r>
            <a:endParaRPr lang="en-GH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t>1</a:t>
            </a:fld>
            <a:endParaRPr lang="en-GH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AB3386-D2B5-4488-B88B-651287F8F4C6}"/>
              </a:ext>
            </a:extLst>
          </p:cNvPr>
          <p:cNvSpPr txBox="1"/>
          <p:nvPr/>
        </p:nvSpPr>
        <p:spPr>
          <a:xfrm>
            <a:off x="742950" y="1398250"/>
            <a:ext cx="4143267" cy="44473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5 years at McKinsey &amp; Company</a:t>
            </a:r>
            <a:r>
              <a:rPr lang="en-US" sz="1200" dirty="0"/>
              <a:t>, Munich with a focus on corporate finance serving private equity funds and companies in basic industries (chemicals, oil &amp; gas) and retail, e.g.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Redefined the capex strategy of a Global producer of agrochemicals and plant seed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Evaluated the prospects of creating a medical treatment and education center in Riyadh, KSA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Co-led the development of an expert team on the capital markets and financial performance of chemical and oil &amp; gas companies in Munich, Amsterdam and Sao Paulo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3 years as an entrepreneur in eCommerce &amp; Fintech</a:t>
            </a:r>
            <a:endParaRPr lang="en-US" sz="1200" dirty="0"/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Co-founding of an e-Commerce gift shop </a:t>
            </a:r>
            <a:br>
              <a:rPr lang="en-US" sz="1200" dirty="0"/>
            </a:br>
            <a:r>
              <a:rPr lang="en-US" sz="1200" dirty="0"/>
              <a:t>Developed the product and content, and drove marketing and user-support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Co-founded a VC fund for blockchain companies</a:t>
            </a:r>
            <a:br>
              <a:rPr lang="en-US" sz="1200" dirty="0"/>
            </a:br>
            <a:r>
              <a:rPr lang="en-US" sz="1200" dirty="0"/>
              <a:t>Created an investment strategy and reached out to investment targets at industry events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3 years at Goetz Partners, </a:t>
            </a:r>
            <a:r>
              <a:rPr lang="en-US" sz="1200" dirty="0"/>
              <a:t>Munich and as a freelancer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Completed commercial due diligence projects in the consumer goods and construction industrie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Gave expertise to reorganize the finance function of an eCommerce company preparing for a VC funding roun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5B3E89-D876-4AA6-ADED-DB1F189B341E}"/>
              </a:ext>
            </a:extLst>
          </p:cNvPr>
          <p:cNvSpPr txBox="1"/>
          <p:nvPr/>
        </p:nvSpPr>
        <p:spPr>
          <a:xfrm>
            <a:off x="7945692" y="1398250"/>
            <a:ext cx="3590369" cy="233140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Bastian holds a </a:t>
            </a:r>
            <a:r>
              <a:rPr lang="en-US" sz="1200" dirty="0">
                <a:solidFill>
                  <a:srgbClr val="FF0000"/>
                </a:solidFill>
              </a:rPr>
              <a:t>Ph.D. and MSc degree in Business Administration</a:t>
            </a:r>
            <a:r>
              <a:rPr lang="en-US" sz="1200" dirty="0">
                <a:solidFill>
                  <a:prstClr val="black"/>
                </a:solidFill>
              </a:rPr>
              <a:t> from the </a:t>
            </a:r>
            <a:r>
              <a:rPr lang="en-US" sz="1200" dirty="0">
                <a:solidFill>
                  <a:srgbClr val="FF0000"/>
                </a:solidFill>
              </a:rPr>
              <a:t>University of Frankfurt </a:t>
            </a:r>
            <a:r>
              <a:rPr lang="en-US" sz="1200" dirty="0">
                <a:solidFill>
                  <a:prstClr val="black"/>
                </a:solidFill>
              </a:rPr>
              <a:t>and </a:t>
            </a:r>
            <a:r>
              <a:rPr lang="en-US" sz="1200" dirty="0">
                <a:solidFill>
                  <a:srgbClr val="FF0000"/>
                </a:solidFill>
              </a:rPr>
              <a:t>Mainz</a:t>
            </a:r>
            <a:r>
              <a:rPr lang="en-US" sz="1200" dirty="0">
                <a:solidFill>
                  <a:prstClr val="black"/>
                </a:solidFill>
              </a:rPr>
              <a:t>, Germany; he has focused on finance &amp; law and management accounting; in addition Bastian is a </a:t>
            </a:r>
            <a:r>
              <a:rPr lang="en-US" sz="1200" dirty="0">
                <a:solidFill>
                  <a:srgbClr val="FF0000"/>
                </a:solidFill>
              </a:rPr>
              <a:t>CFA charter holder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He also holds a </a:t>
            </a:r>
            <a:r>
              <a:rPr lang="en-US" sz="1200" dirty="0">
                <a:solidFill>
                  <a:srgbClr val="FF0000"/>
                </a:solidFill>
              </a:rPr>
              <a:t>a MSc degree in European Studies </a:t>
            </a:r>
            <a:r>
              <a:rPr lang="en-US" sz="1200" dirty="0"/>
              <a:t>from the </a:t>
            </a:r>
            <a:r>
              <a:rPr lang="en-US" sz="1200" dirty="0">
                <a:solidFill>
                  <a:srgbClr val="FF0000"/>
                </a:solidFill>
              </a:rPr>
              <a:t>University of Bath </a:t>
            </a:r>
            <a:r>
              <a:rPr lang="en-US" sz="1200" dirty="0"/>
              <a:t>and the </a:t>
            </a:r>
            <a:r>
              <a:rPr lang="en-US" sz="1200" dirty="0" err="1">
                <a:solidFill>
                  <a:srgbClr val="FF0000"/>
                </a:solidFill>
              </a:rPr>
              <a:t>Institut</a:t>
            </a:r>
            <a:r>
              <a:rPr lang="en-US" sz="1200" dirty="0">
                <a:solidFill>
                  <a:srgbClr val="FF0000"/>
                </a:solidFill>
              </a:rPr>
              <a:t> </a:t>
            </a:r>
            <a:r>
              <a:rPr lang="en-US" sz="1200" dirty="0" err="1">
                <a:solidFill>
                  <a:srgbClr val="FF0000"/>
                </a:solidFill>
              </a:rPr>
              <a:t>d’Études</a:t>
            </a:r>
            <a:r>
              <a:rPr lang="en-US" sz="1200" dirty="0">
                <a:solidFill>
                  <a:srgbClr val="FF0000"/>
                </a:solidFill>
              </a:rPr>
              <a:t> Politique (IEP), </a:t>
            </a:r>
            <a:r>
              <a:rPr lang="en-US" sz="1200" dirty="0"/>
              <a:t>Paris</a:t>
            </a:r>
            <a:r>
              <a:rPr lang="en-US" sz="1200" dirty="0">
                <a:solidFill>
                  <a:srgbClr val="FF0000"/>
                </a:solidFill>
              </a:rPr>
              <a:t> </a:t>
            </a:r>
            <a:r>
              <a:rPr lang="en-US" sz="1200" dirty="0"/>
              <a:t>with a specialization in regulation and supranational environmental policy-making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Bastian speaks German and English fluently and is able to have professional conversations in French. He has basic knowledge in Spanish and Russian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F92F476-1647-904E-90CD-5659456D684C}"/>
              </a:ext>
            </a:extLst>
          </p:cNvPr>
          <p:cNvSpPr txBox="1"/>
          <p:nvPr/>
        </p:nvSpPr>
        <p:spPr>
          <a:xfrm>
            <a:off x="5141843" y="4016574"/>
            <a:ext cx="2536837" cy="16312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algn="l" defTabSz="914400" hangingPunct="1">
              <a:lnSpc>
                <a:spcPct val="95000"/>
              </a:lnSpc>
              <a:defRPr sz="17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b="1" dirty="0"/>
              <a:t>Introduction</a:t>
            </a:r>
            <a:endParaRPr lang="en-US" sz="1200" dirty="0"/>
          </a:p>
          <a:p>
            <a:pPr marL="171450" indent="-171450">
              <a:lnSpc>
                <a:spcPct val="10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International focus and passion to turn innovative business models into a reality </a:t>
            </a:r>
          </a:p>
          <a:p>
            <a:pPr marL="171450" indent="-171450">
              <a:lnSpc>
                <a:spcPct val="10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Specialist on strategy development and corporate finance</a:t>
            </a:r>
          </a:p>
          <a:p>
            <a:pPr marL="171450" indent="-171450">
              <a:lnSpc>
                <a:spcPct val="10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Sector expertise in basic industries, tech and retail/ecommerce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9" name="Rectangle: Single Corner Rounded 28">
            <a:extLst>
              <a:ext uri="{FF2B5EF4-FFF2-40B4-BE49-F238E27FC236}">
                <a16:creationId xmlns:a16="http://schemas.microsoft.com/office/drawing/2014/main" id="{20ECA679-38A4-451F-BCF7-C371E58E8E20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2473CCDE-02F6-4993-821B-DEF4C1C86C9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sp>
        <p:nvSpPr>
          <p:cNvPr id="31" name="Rectangle: Single Corner Rounded 30">
            <a:extLst>
              <a:ext uri="{FF2B5EF4-FFF2-40B4-BE49-F238E27FC236}">
                <a16:creationId xmlns:a16="http://schemas.microsoft.com/office/drawing/2014/main" id="{05CF389C-AAFF-4A32-ABF4-DFEE7DF1620D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117FD97C-6A75-4D5E-9321-D0B06DFE6BE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63389" y="967232"/>
            <a:ext cx="340892" cy="343274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547E3A9-684D-4A85-A3E9-CF50DDB5F109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335582" y="1040617"/>
            <a:ext cx="196505" cy="196505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91D6C6D7-87E4-405E-9F42-8F39FCE270B2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294E9FE7-BC54-2848-979D-BCEF5FABA6F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3"/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29529629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09</TotalTime>
  <Words>324</Words>
  <Application>Microsoft Macintosh PowerPoint</Application>
  <PresentationFormat>Widescreen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Dr. Bastian Brand – Mission Lea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541</cp:revision>
  <dcterms:created xsi:type="dcterms:W3CDTF">2020-03-25T12:28:14Z</dcterms:created>
  <dcterms:modified xsi:type="dcterms:W3CDTF">2020-10-02T10:21:45Z</dcterms:modified>
</cp:coreProperties>
</file>